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9" r:id="rId3"/>
    <p:sldId id="257" r:id="rId4"/>
    <p:sldId id="258" r:id="rId5"/>
    <p:sldId id="260" r:id="rId6"/>
    <p:sldId id="266" r:id="rId7"/>
    <p:sldId id="261" r:id="rId8"/>
    <p:sldId id="262" r:id="rId9"/>
    <p:sldId id="263" r:id="rId10"/>
    <p:sldId id="265" r:id="rId11"/>
    <p:sldId id="264" r:id="rId12"/>
  </p:sldIdLst>
  <p:sldSz cx="12192000" cy="6858000"/>
  <p:notesSz cx="6858000" cy="9144000"/>
  <p:custDataLst>
    <p:tags r:id="rId1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5982"/>
  </p:normalViewPr>
  <p:slideViewPr>
    <p:cSldViewPr snapToGrid="0" snapToObjects="1">
      <p:cViewPr varScale="1">
        <p:scale>
          <a:sx n="117" d="100"/>
          <a:sy n="117" d="100"/>
        </p:scale>
        <p:origin x="36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B64AA2E-BC04-754E-8FAB-3FC20B35E8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A4B23E62-6A48-8649-9C3C-305A20C206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92F4FA3-C094-9844-824D-32E93A8D05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0EB09-4FD2-3445-B46A-6F878A520B10}" type="datetimeFigureOut">
              <a:rPr kumimoji="1" lang="zh-CN" altLang="en-US" smtClean="0"/>
              <a:t>2021/4/20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165A27A-2D38-624D-B668-C53ED11BE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9241B85-E35B-C843-AD77-DCB597E6A2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1E70B-0910-9247-964B-F0E82ADF0FD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8112517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B26B7E0-7E80-7D4F-BD83-7B3C44030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D63009D0-F53E-794E-BDE8-1AA90DE07D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393A511-8288-934E-A2F2-4D765E3A16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0EB09-4FD2-3445-B46A-6F878A520B10}" type="datetimeFigureOut">
              <a:rPr kumimoji="1" lang="zh-CN" altLang="en-US" smtClean="0"/>
              <a:t>2021/4/20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37F0A58-C223-904D-B552-9B37662F55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B0F322A-97D8-BB45-ABEA-C80B1F4ED2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1E70B-0910-9247-964B-F0E82ADF0FD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1859903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E08A264-3391-8C43-947C-3298993A8D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1BE755B-1BD5-D04D-9820-F99B4F9F97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A75B166-663B-854F-AF08-21C15759CB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0EB09-4FD2-3445-B46A-6F878A520B10}" type="datetimeFigureOut">
              <a:rPr kumimoji="1" lang="zh-CN" altLang="en-US" smtClean="0"/>
              <a:t>2021/4/20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07B156E-8CA7-2444-9FCB-696894B679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CC814EB-8442-034E-9EA7-A06F8E0A1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1E70B-0910-9247-964B-F0E82ADF0FD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679401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6DBCE69-32D9-9F43-9211-377C89F2C7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30470EF-2C5E-274F-8321-89E15A7054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40E92B1-A2CE-DE4D-9C3C-CAEA20E82E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0EB09-4FD2-3445-B46A-6F878A520B10}" type="datetimeFigureOut">
              <a:rPr kumimoji="1" lang="zh-CN" altLang="en-US" smtClean="0"/>
              <a:t>2021/4/20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41CFB1E-B298-8C46-B33B-42A6F235A4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DA92E25-371B-7E4F-A7B2-27A02701F5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1E70B-0910-9247-964B-F0E82ADF0FD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384946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74D990-F6B6-1F44-A24E-BC00D1E148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4D6242F-DDBB-034D-8003-96B0FBF89F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4090AEA-8FB9-6E4F-80E2-25B409440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0EB09-4FD2-3445-B46A-6F878A520B10}" type="datetimeFigureOut">
              <a:rPr kumimoji="1" lang="zh-CN" altLang="en-US" smtClean="0"/>
              <a:t>2021/4/20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B473276-6485-8F45-80D8-B16DDD0D1D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60C5F9F-DF51-BD4F-A157-0E2F9A322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1E70B-0910-9247-964B-F0E82ADF0FD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604763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2235FE8-F981-5A4A-BF43-E63FEE42C4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7BF7FE9-3C43-C148-AE1C-BC8DCD6973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97F16AEA-FC18-CC40-92A4-9C6BC6FAD9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8E44261-BE72-2A47-85C2-7100767C84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0EB09-4FD2-3445-B46A-6F878A520B10}" type="datetimeFigureOut">
              <a:rPr kumimoji="1" lang="zh-CN" altLang="en-US" smtClean="0"/>
              <a:t>2021/4/20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F8BBB229-7624-0146-B595-30801A7602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B89B1E6-BD0D-1C44-87F8-0E505775A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1E70B-0910-9247-964B-F0E82ADF0FD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59175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7F0DD17-5346-D747-9377-1A9A90B81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0DACFF4-5FF8-1A48-A9E1-18A7D74A05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FC5BDE64-2C27-FA4D-B71E-9A9251B838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F878C793-0A92-2D4B-B406-BFAA070E40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1BDC5855-1564-CF4D-8114-EC628DC8B4F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F733CF3A-6622-3949-8620-DA6FB44488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0EB09-4FD2-3445-B46A-6F878A520B10}" type="datetimeFigureOut">
              <a:rPr kumimoji="1" lang="zh-CN" altLang="en-US" smtClean="0"/>
              <a:t>2021/4/20</a:t>
            </a:fld>
            <a:endParaRPr kumimoji="1"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1508B1D4-6DE4-2147-B0BA-5ABED9919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F8DAFE7C-6FA7-434C-A831-472C240558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1E70B-0910-9247-964B-F0E82ADF0FD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152074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9F580A5-4156-C44F-87BF-12A71947CA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B33E9C1F-1B29-6E46-AE8A-4ED4BE00D0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0EB09-4FD2-3445-B46A-6F878A520B10}" type="datetimeFigureOut">
              <a:rPr kumimoji="1" lang="zh-CN" altLang="en-US" smtClean="0"/>
              <a:t>2021/4/20</a:t>
            </a:fld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E28D850E-1566-B346-8363-2456BF4CC8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421E3C8-493D-F044-821E-AA146982B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1E70B-0910-9247-964B-F0E82ADF0FD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782228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70462502-4952-D344-98BC-7F20470E12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0EB09-4FD2-3445-B46A-6F878A520B10}" type="datetimeFigureOut">
              <a:rPr kumimoji="1" lang="zh-CN" altLang="en-US" smtClean="0"/>
              <a:t>2021/4/20</a:t>
            </a:fld>
            <a:endParaRPr kumimoji="1"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75BC2D3-0DDD-5F4E-B7A1-8D73FB0E97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251DA0B-B0BF-4D4A-903C-073BF2599A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1E70B-0910-9247-964B-F0E82ADF0FD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7747919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B5BC3DB-4D9B-234D-9824-30EC211D21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67FFED9-A200-2442-BF1B-BF1ED179C8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0C451CFF-4C57-434B-8B69-A2445DEFDC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42CB970D-FA21-B244-821A-22DDFE10D0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0EB09-4FD2-3445-B46A-6F878A520B10}" type="datetimeFigureOut">
              <a:rPr kumimoji="1" lang="zh-CN" altLang="en-US" smtClean="0"/>
              <a:t>2021/4/20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71A944A-3C5E-7F44-974C-8F134AD3A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0184944-F48F-394C-BF05-E2C7E2354A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1E70B-0910-9247-964B-F0E82ADF0FD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130755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C679D8C-6FE9-C54A-94C5-1310E69F6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94448D37-8660-DF49-A6AB-09EEF63124F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F9ECD0A1-D0B3-B34D-97B2-4DC59EE5E1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ED5DB27-01FC-7B42-A78B-FE6739C30F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0EB09-4FD2-3445-B46A-6F878A520B10}" type="datetimeFigureOut">
              <a:rPr kumimoji="1" lang="zh-CN" altLang="en-US" smtClean="0"/>
              <a:t>2021/4/20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1F73F7E-2CF9-684F-A0C1-6A8A8BD94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06B525E0-C410-7E48-A470-B566B69BC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1E70B-0910-9247-964B-F0E82ADF0FD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1061918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02510CD5-FF5D-7C4C-BDF5-50F92013B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621921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幻灯片" r:id="rId15" imgW="7772400" imgH="10058400" progId="TCLayout.ActiveDocument.1">
                  <p:embed/>
                </p:oleObj>
              </mc:Choice>
              <mc:Fallback>
                <p:oleObj name="think-cell 幻灯片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527905A8-6D89-AA4B-AF9F-72CDD54D80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E92AF57-5F7B-FA4F-BFDA-E94E8ACBD2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EC2B95B-F79B-E242-A541-D3E0623D3B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D0EB09-4FD2-3445-B46A-6F878A520B10}" type="datetimeFigureOut">
              <a:rPr kumimoji="1" lang="zh-CN" altLang="en-US" smtClean="0"/>
              <a:t>2021/4/20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444AD56-1657-8844-B7D1-81CC4BA917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E9F0424-E27C-DB46-9B9D-305D42D77F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61E70B-0910-9247-964B-F0E82ADF0FD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84725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EC5705BB-271F-004D-9019-3B05A08BCA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29249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7BEDB1E-5815-0D48-84CB-9875667A034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" altLang="zh-CN" dirty="0" err="1"/>
              <a:t>Swin</a:t>
            </a:r>
            <a:r>
              <a:rPr lang="en" altLang="zh-CN" dirty="0"/>
              <a:t> Transformer: Hierarchical Vision Transformer using Shifted Windows</a:t>
            </a:r>
            <a:endParaRPr kumimoji="1" lang="zh-CN" altLang="en-US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E8BC0E43-0910-DA41-9807-921020A988D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533942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2269E322-D07B-E345-BE9D-4680E9FCBB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2269E322-D07B-E345-BE9D-4680E9FCB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0AEE11A-80E5-C841-97DE-5F0087593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Method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C95D49B-CF48-2441-87F5-9CFB4B816C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en-US" altLang="zh-CN" dirty="0"/>
              <a:t>Relative Position Bias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BFB07D1-6B00-A14B-AC33-D114284B40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200" y="2608943"/>
            <a:ext cx="5346700" cy="5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6076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A0854146-9122-2047-A7F1-A48A51C460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6510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3B68A34F-F812-614B-BACC-1D7CB656D3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Experiments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5C40C14-FD58-4945-8C6F-F3C43A23D2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kumimoji="1"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AB35442-2275-7843-AE12-CA58CF5639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71936" y="584200"/>
            <a:ext cx="5956300" cy="56896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CE91EBFF-8B64-8A45-AA8A-FBAE3E4FC96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2855687"/>
            <a:ext cx="5560558" cy="2696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397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4331FC-FB23-3C4E-837F-6DD5A0D5E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7406A7C-7A29-B445-8FAD-AD4A1E1E7E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2E0F37D1-9136-B94F-9D8C-0E31130EFF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1925300" cy="26543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995C8CD8-0883-794B-BF69-E2BD7FA213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2523668"/>
            <a:ext cx="8724900" cy="10160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F4682009-0C8E-6B49-B629-4690ABBC30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6300" y="3539668"/>
            <a:ext cx="5786477" cy="3280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5826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72DBDE32-6690-374A-B168-7CA2EB280E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36090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F44128A3-BA3E-CD4C-95D3-BB02D82F0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Background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D351C10-BC3B-9F43-9731-3FE0279944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" altLang="zh-CN" dirty="0"/>
              <a:t>Challenges in adapting Transformer from language to vision arise from differences between the two domains.</a:t>
            </a:r>
          </a:p>
          <a:p>
            <a:pPr marL="0" indent="0">
              <a:buNone/>
            </a:pPr>
            <a:r>
              <a:rPr lang="en" altLang="zh-CN" dirty="0"/>
              <a:t>	large variations in the scale of visual entities </a:t>
            </a:r>
          </a:p>
          <a:p>
            <a:pPr marL="0" indent="0">
              <a:buNone/>
            </a:pPr>
            <a:r>
              <a:rPr lang="en" altLang="zh-CN" dirty="0"/>
              <a:t>	the high resolution of pixels in images</a:t>
            </a:r>
          </a:p>
          <a:p>
            <a:pPr marL="0" indent="0">
              <a:buNone/>
            </a:pPr>
            <a:endParaRPr lang="en" altLang="zh-CN" dirty="0"/>
          </a:p>
          <a:p>
            <a:r>
              <a:rPr kumimoji="1" lang="en-US" altLang="zh-CN" dirty="0"/>
              <a:t>a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424424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2269E322-D07B-E345-BE9D-4680E9FCBB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52651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0AEE11A-80E5-C841-97DE-5F0087593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Method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C95D49B-CF48-2441-87F5-9CFB4B816C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2C8A6B6-4C5B-FF48-A9EC-35929D556E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825625"/>
            <a:ext cx="6197600" cy="35052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6C4E05A7-CA12-474A-84B4-BBB154B2ED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97600" y="2365375"/>
            <a:ext cx="5994400" cy="242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429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2269E322-D07B-E345-BE9D-4680E9FCBB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2269E322-D07B-E345-BE9D-4680E9FCB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0AEE11A-80E5-C841-97DE-5F0087593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Method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C95D49B-CF48-2441-87F5-9CFB4B816C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F646D90-281D-F341-BE42-CCD70734A6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300628"/>
            <a:ext cx="12192000" cy="425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2820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2269E322-D07B-E345-BE9D-4680E9FCBB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2269E322-D07B-E345-BE9D-4680E9FCB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0AEE11A-80E5-C841-97DE-5F0087593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Method</a:t>
            </a:r>
            <a:endParaRPr kumimoji="1"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74CB56AB-BCA9-5341-8849-07A33B3350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5636" y="1634421"/>
            <a:ext cx="8928100" cy="27813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D43F431C-6593-EE46-9B39-DBDCA3CDB515}"/>
              </a:ext>
            </a:extLst>
          </p:cNvPr>
          <p:cNvSpPr txBox="1"/>
          <p:nvPr/>
        </p:nvSpPr>
        <p:spPr>
          <a:xfrm>
            <a:off x="2120355" y="6180567"/>
            <a:ext cx="14398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Patch size=4</a:t>
            </a:r>
            <a:endParaRPr kumimoji="1"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C8998CAE-0918-7849-8492-5463D3056BDC}"/>
              </a:ext>
            </a:extLst>
          </p:cNvPr>
          <p:cNvSpPr txBox="1"/>
          <p:nvPr/>
        </p:nvSpPr>
        <p:spPr>
          <a:xfrm>
            <a:off x="2149209" y="5075505"/>
            <a:ext cx="1382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1 layer CNN</a:t>
            </a:r>
            <a:endParaRPr kumimoji="1"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1B40128-2C01-0249-86A1-8E004C381EA2}"/>
              </a:ext>
            </a:extLst>
          </p:cNvPr>
          <p:cNvSpPr txBox="1"/>
          <p:nvPr/>
        </p:nvSpPr>
        <p:spPr>
          <a:xfrm>
            <a:off x="1436914" y="5628036"/>
            <a:ext cx="3076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Kernel size=Patch size=stride</a:t>
            </a:r>
            <a:endParaRPr kumimoji="1" lang="zh-CN" altLang="en-US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2FC930C-7981-A14C-9B73-334AEB7BFB57}"/>
              </a:ext>
            </a:extLst>
          </p:cNvPr>
          <p:cNvSpPr txBox="1"/>
          <p:nvPr/>
        </p:nvSpPr>
        <p:spPr>
          <a:xfrm>
            <a:off x="1828800" y="4459265"/>
            <a:ext cx="20345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Linear</a:t>
            </a:r>
            <a:r>
              <a:rPr kumimoji="1" lang="zh-CN" altLang="en-US" dirty="0"/>
              <a:t> </a:t>
            </a:r>
            <a:r>
              <a:rPr kumimoji="1" lang="en-US" altLang="zh-CN" dirty="0"/>
              <a:t>Embedding:</a:t>
            </a:r>
            <a:endParaRPr kumimoji="1" lang="zh-CN" altLang="en-US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A4F508F2-0954-3540-9C2E-E66E576E95A7}"/>
              </a:ext>
            </a:extLst>
          </p:cNvPr>
          <p:cNvSpPr txBox="1"/>
          <p:nvPr/>
        </p:nvSpPr>
        <p:spPr>
          <a:xfrm>
            <a:off x="5040086" y="4459265"/>
            <a:ext cx="16866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Patch</a:t>
            </a:r>
            <a:r>
              <a:rPr kumimoji="1" lang="zh-CN" altLang="en-US" dirty="0"/>
              <a:t> </a:t>
            </a:r>
            <a:r>
              <a:rPr kumimoji="1" lang="en-US" altLang="zh-CN" dirty="0"/>
              <a:t>Merging: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D99A0DC3-8A7B-7045-BEC9-0E2FFEEA9012}"/>
              </a:ext>
            </a:extLst>
          </p:cNvPr>
          <p:cNvSpPr txBox="1"/>
          <p:nvPr/>
        </p:nvSpPr>
        <p:spPr>
          <a:xfrm>
            <a:off x="4800601" y="5075505"/>
            <a:ext cx="3336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Split + </a:t>
            </a:r>
            <a:r>
              <a:rPr kumimoji="1" lang="en-US" altLang="zh-CN" dirty="0" err="1"/>
              <a:t>Concat</a:t>
            </a:r>
            <a:r>
              <a:rPr kumimoji="1" lang="en-US" altLang="zh-CN" dirty="0"/>
              <a:t> + Norm + Dense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777640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2269E322-D07B-E345-BE9D-4680E9FCBB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2269E322-D07B-E345-BE9D-4680E9FCB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0AEE11A-80E5-C841-97DE-5F0087593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Method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C95D49B-CF48-2441-87F5-9CFB4B816C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en-US" altLang="zh-CN" dirty="0"/>
              <a:t>Why W-MSA(masked self-attention)</a:t>
            </a:r>
            <a:endParaRPr kumimoji="1"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20BEA99A-9979-164A-9635-B44624D1AB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7664" y="2984500"/>
            <a:ext cx="3898900" cy="88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1438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2269E322-D07B-E345-BE9D-4680E9FCBB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2269E322-D07B-E345-BE9D-4680E9FCB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0AEE11A-80E5-C841-97DE-5F0087593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Method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C95D49B-CF48-2441-87F5-9CFB4B816C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en-US" altLang="zh-CN" dirty="0"/>
              <a:t>Window shift</a:t>
            </a:r>
            <a:endParaRPr kumimoji="1"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3553D44-06E1-124C-A453-4A68432559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97600" y="2365375"/>
            <a:ext cx="5994400" cy="24257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53227A79-BB0C-0E49-AEB7-0283C3F386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200" y="2949575"/>
            <a:ext cx="3962400" cy="184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8593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2269E322-D07B-E345-BE9D-4680E9FCBB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2269E322-D07B-E345-BE9D-4680E9FCB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C0AEE11A-80E5-C841-97DE-5F0087593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zh-CN" dirty="0"/>
              <a:t>Method</a:t>
            </a:r>
            <a:endParaRPr kumimoji="1"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C95D49B-CF48-2441-87F5-9CFB4B816C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" altLang="zh-CN" dirty="0"/>
              <a:t>Efficient batch computation for shifted configuration</a:t>
            </a:r>
          </a:p>
          <a:p>
            <a:pPr marL="0" indent="0">
              <a:buNone/>
            </a:pPr>
            <a:endParaRPr kumimoji="1"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645C4B1F-9EA5-F64B-A8B3-E674B905F0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3471" y="2460171"/>
            <a:ext cx="5969000" cy="16764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FB165360-F39D-3640-A086-46152ADE8C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66278" y="3698988"/>
            <a:ext cx="6007100" cy="295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5897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7</TotalTime>
  <Words>96</Words>
  <Application>Microsoft Macintosh PowerPoint</Application>
  <PresentationFormat>宽屏</PresentationFormat>
  <Paragraphs>25</Paragraphs>
  <Slides>1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6" baseType="lpstr">
      <vt:lpstr>等线</vt:lpstr>
      <vt:lpstr>等线 Light</vt:lpstr>
      <vt:lpstr>Arial</vt:lpstr>
      <vt:lpstr>Office 主题​​</vt:lpstr>
      <vt:lpstr>think-cell 幻灯片</vt:lpstr>
      <vt:lpstr>Swin Transformer: Hierarchical Vision Transformer using Shifted Windows</vt:lpstr>
      <vt:lpstr>PowerPoint 演示文稿</vt:lpstr>
      <vt:lpstr>Background</vt:lpstr>
      <vt:lpstr>Method</vt:lpstr>
      <vt:lpstr>Method</vt:lpstr>
      <vt:lpstr>Method</vt:lpstr>
      <vt:lpstr>Method</vt:lpstr>
      <vt:lpstr>Method</vt:lpstr>
      <vt:lpstr>Method</vt:lpstr>
      <vt:lpstr>Method</vt:lpstr>
      <vt:lpstr>Experi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win Transformer: Hierarchical Vision Transformer using Shifted Windows</dc:title>
  <dc:creator>李 晓宇</dc:creator>
  <cp:lastModifiedBy>李 晓宇</cp:lastModifiedBy>
  <cp:revision>9</cp:revision>
  <dcterms:created xsi:type="dcterms:W3CDTF">2021-04-13T12:49:42Z</dcterms:created>
  <dcterms:modified xsi:type="dcterms:W3CDTF">2021-04-20T01:13:02Z</dcterms:modified>
</cp:coreProperties>
</file>